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0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7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6"/>
  </p:notesMasterIdLst>
  <p:handoutMasterIdLst>
    <p:handoutMasterId r:id="rId107"/>
  </p:handoutMasterIdLst>
  <p:sldIdLst>
    <p:sldId id="256" r:id="rId7"/>
    <p:sldId id="371" r:id="rId8"/>
    <p:sldId id="383" r:id="rId9"/>
    <p:sldId id="373" r:id="rId10"/>
    <p:sldId id="416" r:id="rId11"/>
    <p:sldId id="417" r:id="rId12"/>
    <p:sldId id="418" r:id="rId13"/>
    <p:sldId id="419" r:id="rId14"/>
    <p:sldId id="370" r:id="rId15"/>
    <p:sldId id="369" r:id="rId16"/>
    <p:sldId id="378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99" r:id="rId34"/>
    <p:sldId id="400" r:id="rId35"/>
    <p:sldId id="401" r:id="rId36"/>
    <p:sldId id="402" r:id="rId37"/>
    <p:sldId id="403" r:id="rId38"/>
    <p:sldId id="404" r:id="rId39"/>
    <p:sldId id="405" r:id="rId40"/>
    <p:sldId id="420" r:id="rId41"/>
    <p:sldId id="421" r:id="rId42"/>
    <p:sldId id="424" r:id="rId43"/>
    <p:sldId id="423" r:id="rId44"/>
    <p:sldId id="422" r:id="rId45"/>
    <p:sldId id="388" r:id="rId46"/>
    <p:sldId id="389" r:id="rId47"/>
    <p:sldId id="374" r:id="rId48"/>
    <p:sldId id="382" r:id="rId49"/>
    <p:sldId id="318" r:id="rId50"/>
    <p:sldId id="425" r:id="rId51"/>
    <p:sldId id="320" r:id="rId52"/>
    <p:sldId id="426" r:id="rId53"/>
    <p:sldId id="427" r:id="rId54"/>
    <p:sldId id="323" r:id="rId55"/>
    <p:sldId id="428" r:id="rId56"/>
    <p:sldId id="429" r:id="rId57"/>
    <p:sldId id="324" r:id="rId58"/>
    <p:sldId id="430" r:id="rId59"/>
    <p:sldId id="432" r:id="rId60"/>
    <p:sldId id="431" r:id="rId61"/>
    <p:sldId id="325" r:id="rId62"/>
    <p:sldId id="327" r:id="rId63"/>
    <p:sldId id="328" r:id="rId64"/>
    <p:sldId id="394" r:id="rId65"/>
    <p:sldId id="329" r:id="rId66"/>
    <p:sldId id="368" r:id="rId67"/>
    <p:sldId id="408" r:id="rId68"/>
    <p:sldId id="409" r:id="rId69"/>
    <p:sldId id="410" r:id="rId70"/>
    <p:sldId id="411" r:id="rId71"/>
    <p:sldId id="412" r:id="rId72"/>
    <p:sldId id="413" r:id="rId73"/>
    <p:sldId id="414" r:id="rId74"/>
    <p:sldId id="395" r:id="rId75"/>
    <p:sldId id="396" r:id="rId76"/>
    <p:sldId id="375" r:id="rId77"/>
    <p:sldId id="398" r:id="rId78"/>
    <p:sldId id="397" r:id="rId79"/>
    <p:sldId id="359" r:id="rId80"/>
    <p:sldId id="360" r:id="rId81"/>
    <p:sldId id="376" r:id="rId82"/>
    <p:sldId id="343" r:id="rId83"/>
    <p:sldId id="344" r:id="rId84"/>
    <p:sldId id="345" r:id="rId85"/>
    <p:sldId id="361" r:id="rId86"/>
    <p:sldId id="347" r:id="rId87"/>
    <p:sldId id="348" r:id="rId88"/>
    <p:sldId id="362" r:id="rId89"/>
    <p:sldId id="352" r:id="rId90"/>
    <p:sldId id="353" r:id="rId91"/>
    <p:sldId id="354" r:id="rId92"/>
    <p:sldId id="363" r:id="rId93"/>
    <p:sldId id="364" r:id="rId94"/>
    <p:sldId id="377" r:id="rId95"/>
    <p:sldId id="350" r:id="rId96"/>
    <p:sldId id="355" r:id="rId97"/>
    <p:sldId id="349" r:id="rId98"/>
    <p:sldId id="357" r:id="rId99"/>
    <p:sldId id="358" r:id="rId100"/>
    <p:sldId id="406" r:id="rId101"/>
    <p:sldId id="407" r:id="rId102"/>
    <p:sldId id="380" r:id="rId103"/>
    <p:sldId id="392" r:id="rId104"/>
    <p:sldId id="299" r:id="rId105"/>
  </p:sldIdLst>
  <p:sldSz cx="9144000" cy="6858000" type="screen4x3"/>
  <p:notesSz cx="7023100" cy="9309100"/>
  <p:custDataLst>
    <p:tags r:id="rId10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1518" y="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11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handoutMaster" Target="handoutMasters/handout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slide" Target="slides/slide96.xml"/><Relationship Id="rId11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slide" Target="slides/slide99.xml"/><Relationship Id="rId113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slide" Target="slides/slide97.xml"/><Relationship Id="rId108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1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commentAuthors" Target="commentAuthor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slide" Target="slides/slide98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11:49.068" idx="26">
    <p:pos x="10" y="10"/>
    <p:text>What honeywell introduction,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2:44.756" idx="27">
    <p:pos x="10" y="106"/>
    <p:text>Sort of commercial introducti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01.473" idx="28">
    <p:pos x="10" y="202"/>
    <p:text>To give a commite a feeling what is going on</p:text>
    <p:extLst>
      <p:ext uri="{C676402C-5697-4E1C-873F-D02D1690AC5C}">
        <p15:threadingInfo xmlns:p15="http://schemas.microsoft.com/office/powerpoint/2012/main" timeZoneBias="-60">
          <p15:parentCm authorId="2" idx="26"/>
        </p15:threadingInfo>
      </p:ext>
    </p:extLst>
  </p:cm>
  <p:cm authorId="2" dt="2019-01-31T15:13:11.186" idx="29">
    <p:pos x="6" y="305"/>
    <p:text>The private industry viewpoint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15:52.988" idx="30">
    <p:pos x="6" y="401"/>
    <p:text>What I have done differently, what was my experience in terms of academia/industry 
What I learned here I can not learned in academia</p:text>
    <p:extLst>
      <p:ext uri="{C676402C-5697-4E1C-873F-D02D1690AC5C}">
        <p15:threadingInfo xmlns:p15="http://schemas.microsoft.com/office/powerpoint/2012/main" timeZoneBias="-60">
          <p15:parentCm authorId="2" idx="2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31T15:07:25.749" idx="24">
    <p:pos x="548" y="612"/>
    <p:text>This is important step to integrate UAS into non segregated airspace
The cooperation between academa aid industry enables to achieve this results</p:text>
    <p:extLst>
      <p:ext uri="{C676402C-5697-4E1C-873F-D02D1690AC5C}">
        <p15:threadingInfo xmlns:p15="http://schemas.microsoft.com/office/powerpoint/2012/main" timeZoneBias="-60"/>
      </p:ext>
    </p:extLst>
  </p:cm>
  <p:cm authorId="2" dt="2019-01-31T15:08:57.614" idx="25">
    <p:pos x="188" y="771"/>
    <p:text>The framework can be reused by future researchers, due the complex infrastructure and modularity anything can be replaced by your stuff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267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5.xml"/><Relationship Id="rId4" Type="http://schemas.openxmlformats.org/officeDocument/2006/relationships/image" Target="../media/image8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40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4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46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49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5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56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58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8289" r="4771" b="44517"/>
          <a:stretch/>
        </p:blipFill>
        <p:spPr>
          <a:xfrm>
            <a:off x="201814" y="1736521"/>
            <a:ext cx="8707772" cy="2600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5117" y="2635233"/>
            <a:ext cx="5971429" cy="34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461" y="2763018"/>
            <a:ext cx="4733333" cy="6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27" y="1571119"/>
            <a:ext cx="8266667" cy="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F4C9-35CD-4BD6-91DA-5849D29A2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Overview </a:t>
            </a:r>
            <a:r>
              <a:rPr lang="pt-PT" dirty="0">
                <a:solidFill>
                  <a:srgbClr val="FF0000"/>
                </a:solidFill>
              </a:rPr>
              <a:t>(MODIFY THE PREVIOUS SLIDE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F7EEEA-97C5-4B3D-829F-B8C0C47A5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Sense and avoid for UAS insertion in controlled air space (title of a chapter)</a:t>
            </a:r>
          </a:p>
          <a:p>
            <a:r>
              <a:rPr lang="pt-PT" dirty="0">
                <a:solidFill>
                  <a:srgbClr val="FF0000"/>
                </a:solidFill>
              </a:rPr>
              <a:t>Problems in DAA</a:t>
            </a:r>
          </a:p>
          <a:p>
            <a:r>
              <a:rPr lang="pt-PT" dirty="0">
                <a:solidFill>
                  <a:srgbClr val="FF0000"/>
                </a:solidFill>
              </a:rPr>
              <a:t>Related work</a:t>
            </a:r>
          </a:p>
          <a:p>
            <a:r>
              <a:rPr lang="pt-PT" dirty="0">
                <a:solidFill>
                  <a:srgbClr val="FF0000"/>
                </a:solidFill>
              </a:rPr>
              <a:t>Background material</a:t>
            </a:r>
          </a:p>
          <a:p>
            <a:r>
              <a:rPr lang="pt-PT" dirty="0">
                <a:solidFill>
                  <a:srgbClr val="FF0000"/>
                </a:solidFill>
              </a:rPr>
              <a:t>Proposed framework</a:t>
            </a:r>
          </a:p>
          <a:p>
            <a:r>
              <a:rPr lang="pt-PT" dirty="0">
                <a:solidFill>
                  <a:srgbClr val="FF0000"/>
                </a:solidFill>
              </a:rPr>
              <a:t>Simulation results</a:t>
            </a:r>
          </a:p>
          <a:p>
            <a:r>
              <a:rPr lang="pt-PT" dirty="0">
                <a:solidFill>
                  <a:srgbClr val="FF0000"/>
                </a:solidFill>
              </a:rPr>
              <a:t>Conclusions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SHOULDN’T SLIDES 50,51 AND 52 GO UNDER THE TITLE: PROPOSED FRAMEWORK</a:t>
            </a:r>
          </a:p>
          <a:p>
            <a:endParaRPr lang="pt-PT" dirty="0">
              <a:solidFill>
                <a:srgbClr val="FF0000"/>
              </a:solidFill>
            </a:endParaRPr>
          </a:p>
          <a:p>
            <a:r>
              <a:rPr lang="pt-PT" dirty="0">
                <a:solidFill>
                  <a:srgbClr val="FF0000"/>
                </a:solidFill>
              </a:rPr>
              <a:t>YOU STILL MISS A FEW EQUATIONS</a:t>
            </a:r>
          </a:p>
          <a:p>
            <a:r>
              <a:rPr lang="pt-PT" dirty="0">
                <a:solidFill>
                  <a:srgbClr val="FF0000"/>
                </a:solidFill>
              </a:rPr>
              <a:t>THESE COULD GO WITH THE PROBLEMS AND ALSO WITH THE BACKGROUND MATERIAL</a:t>
            </a:r>
          </a:p>
          <a:p>
            <a:endParaRPr lang="pt-P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081BCB-FB17-462D-9300-190780EB60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Arial monospaced for SAP" panose="020B0609020202030204" pitchFamily="49" charset="0"/>
              </a:rPr>
              <a:t>Background materia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43DA0-92B3-4B71-AE1F-8756398AA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Definitions and pictur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FE786-13FE-4ECE-B110-74D89AAEA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7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213" y="1589611"/>
            <a:ext cx="5695238" cy="2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595" y="1801126"/>
            <a:ext cx="6661998" cy="6484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340" y="1503376"/>
            <a:ext cx="7678972" cy="11348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340" y="3267134"/>
            <a:ext cx="8046720" cy="2736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588150"/>
            <a:ext cx="8048708" cy="18524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912302"/>
            <a:ext cx="8048708" cy="188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843" y="5127605"/>
            <a:ext cx="7029975" cy="960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27" name="Obrázok 3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8" name="Obrázok 3">
            <a:extLst/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>
            <a:extLst/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>
            <a:extLst/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>
            <a:extLst/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6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C2B5F-5680-471B-A1C8-2C7D5A881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342044"/>
            <a:ext cx="7680960" cy="498610"/>
          </a:xfrm>
        </p:spPr>
        <p:txBody>
          <a:bodyPr/>
          <a:lstStyle/>
          <a:p>
            <a:r>
              <a:rPr lang="pt-PT" dirty="0">
                <a:solidFill>
                  <a:srgbClr val="FF0000"/>
                </a:solidFill>
              </a:rPr>
              <a:t>Follow the structure of the last chapt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53EAD-955A-4923-96D5-759D4F2BF2E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DF69AC-0404-4407-82DD-0AFCF33CEE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7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8FA7E54-39DC-4B43-80AD-162465F1097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7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8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147</TotalTime>
  <Words>4180</Words>
  <Application>Microsoft Office PowerPoint</Application>
  <PresentationFormat>On-screen Show (4:3)</PresentationFormat>
  <Paragraphs>1290</Paragraphs>
  <Slides>99</Slides>
  <Notes>60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9</vt:i4>
      </vt:variant>
    </vt:vector>
  </HeadingPairs>
  <TitlesOfParts>
    <vt:vector size="115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Overview (MODIFY THE PREVIOUS SLIDE)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Background material</vt:lpstr>
      <vt:lpstr>Definitions and pictures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PowerPoint Presentation</vt:lpstr>
      <vt:lpstr>Follow the structure of the last chapter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07</cp:revision>
  <cp:lastPrinted>2015-07-29T21:30:37Z</cp:lastPrinted>
  <dcterms:created xsi:type="dcterms:W3CDTF">2017-09-21T08:49:16Z</dcterms:created>
  <dcterms:modified xsi:type="dcterms:W3CDTF">2019-02-26T10:48:16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